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5"/>
  </p:notesMasterIdLst>
  <p:sldIdLst>
    <p:sldId id="2147375892" r:id="rId5"/>
    <p:sldId id="2147375523" r:id="rId6"/>
    <p:sldId id="2147375738" r:id="rId7"/>
    <p:sldId id="2147375894" r:id="rId8"/>
    <p:sldId id="2147375895" r:id="rId9"/>
    <p:sldId id="2147375896" r:id="rId10"/>
    <p:sldId id="2147375737" r:id="rId11"/>
    <p:sldId id="2147375893" r:id="rId12"/>
    <p:sldId id="2147375739" r:id="rId13"/>
    <p:sldId id="2147375898" r:id="rId14"/>
  </p:sldIdLst>
  <p:sldSz cx="12192000" cy="6858000"/>
  <p:notesSz cx="6858000" cy="9144000"/>
  <p:custDataLst>
    <p:tags r:id="rId16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892"/>
            <p14:sldId id="2147375523"/>
            <p14:sldId id="2147375738"/>
            <p14:sldId id="2147375894"/>
            <p14:sldId id="2147375895"/>
            <p14:sldId id="2147375896"/>
            <p14:sldId id="2147375737"/>
            <p14:sldId id="2147375893"/>
            <p14:sldId id="2147375739"/>
            <p14:sldId id="2147375898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AFF"/>
    <a:srgbClr val="FF0000"/>
    <a:srgbClr val="7197FF"/>
    <a:srgbClr val="C30B3E"/>
    <a:srgbClr val="AAC1FF"/>
    <a:srgbClr val="43C7A1"/>
    <a:srgbClr val="007770"/>
    <a:srgbClr val="AEE7D7"/>
    <a:srgbClr val="F0C7D7"/>
    <a:srgbClr val="FDE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94"/>
    <p:restoredTop sz="94658"/>
  </p:normalViewPr>
  <p:slideViewPr>
    <p:cSldViewPr snapToGrid="0" showGuides="1">
      <p:cViewPr varScale="1">
        <p:scale>
          <a:sx n="120" d="100"/>
          <a:sy n="120" d="100"/>
        </p:scale>
        <p:origin x="37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/29/25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417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5. 01. 29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5. 01. 29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5. 01. 29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hyperlink" Target="http://www.hypatos.ai/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2.xml"/><Relationship Id="rId6" Type="http://schemas.openxmlformats.org/officeDocument/2006/relationships/image" Target="../media/image1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766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 dirty="0"/>
              <a:t>Next Generation AI for Document Automation – Order To Cash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7" name="Picture 6" descr="A colorful square logo with black text&#10;&#10;Description automatically generated">
            <a:extLst>
              <a:ext uri="{FF2B5EF4-FFF2-40B4-BE49-F238E27FC236}">
                <a16:creationId xmlns:a16="http://schemas.microsoft.com/office/drawing/2014/main" id="{D1C93085-A573-47BF-2F6F-CC2918181D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08696" y="146747"/>
            <a:ext cx="746993" cy="945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5787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pic>
        <p:nvPicPr>
          <p:cNvPr id="9" name="Kép 11">
            <a:extLst>
              <a:ext uri="{FF2B5EF4-FFF2-40B4-BE49-F238E27FC236}">
                <a16:creationId xmlns:a16="http://schemas.microsoft.com/office/drawing/2014/main" id="{80B0B709-A43D-73EF-D486-CA776960186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503904" y="1887433"/>
            <a:ext cx="1566351" cy="1566351"/>
          </a:xfrm>
          <a:prstGeom prst="flowChartConnector">
            <a:avLst/>
          </a:prstGeom>
        </p:spPr>
      </p:pic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407988" y="3590217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Stephan Kuche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Open Sauce One" pitchFamily="2" charset="0"/>
              </a:rPr>
              <a:t>Lead Solution </a:t>
            </a:r>
            <a:r>
              <a:rPr lang="de-DE" sz="1200" dirty="0" err="1">
                <a:latin typeface="Open Sauce One" pitchFamily="2" charset="0"/>
              </a:rPr>
              <a:t>Architect</a:t>
            </a:r>
            <a:endParaRPr lang="de-DE" sz="1200" dirty="0"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tephan.kuche@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(0) 179 340 36 49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18652" y="3154146"/>
            <a:ext cx="3718491" cy="3470223"/>
          </a:xfrm>
          <a:prstGeom prst="rect">
            <a:avLst/>
          </a:prstGeom>
        </p:spPr>
      </p:pic>
      <p:sp>
        <p:nvSpPr>
          <p:cNvPr id="4" name="Rechteck 6">
            <a:extLst>
              <a:ext uri="{FF2B5EF4-FFF2-40B4-BE49-F238E27FC236}">
                <a16:creationId xmlns:a16="http://schemas.microsoft.com/office/drawing/2014/main" id="{51384EC5-2AB8-2618-0578-9B96A2A07489}"/>
              </a:ext>
            </a:extLst>
          </p:cNvPr>
          <p:cNvSpPr/>
          <p:nvPr/>
        </p:nvSpPr>
        <p:spPr>
          <a:xfrm>
            <a:off x="3269938" y="3590217"/>
            <a:ext cx="3000846" cy="1669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Andreas Schummer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Project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err="1">
                <a:latin typeface="Open Sauce One" pitchFamily="2" charset="0"/>
              </a:rPr>
              <a:t>andreas.moesinger@de.ey.com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(0) 160 939 21104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6" name="Kép 11">
            <a:extLst>
              <a:ext uri="{FF2B5EF4-FFF2-40B4-BE49-F238E27FC236}">
                <a16:creationId xmlns:a16="http://schemas.microsoft.com/office/drawing/2014/main" id="{CCD80132-F621-6FDB-52E2-6F022CC366D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058" t="3601" r="9419" b="11988"/>
          <a:stretch/>
        </p:blipFill>
        <p:spPr>
          <a:xfrm>
            <a:off x="3353897" y="1887433"/>
            <a:ext cx="1566351" cy="151447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14486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778629"/>
              </p:ext>
            </p:extLst>
          </p:nvPr>
        </p:nvGraphicFramePr>
        <p:xfrm>
          <a:off x="406268" y="1604864"/>
          <a:ext cx="11342819" cy="3357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42412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45569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9525" marR="9525" marT="9525" anchor="b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6353779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/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4249434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/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25479819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889480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Props1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22</TotalTime>
  <Words>264</Words>
  <Application>Microsoft Macintosh PowerPoint</Application>
  <PresentationFormat>Widescreen</PresentationFormat>
  <Paragraphs>87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Lato</vt:lpstr>
      <vt:lpstr>Open Sauce One</vt:lpstr>
      <vt:lpstr>Hypatos-theme</vt:lpstr>
      <vt:lpstr>think-cell Slide</vt:lpstr>
      <vt:lpstr>Next Generation AI for Document Automation – Order To Cash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14</cp:revision>
  <dcterms:created xsi:type="dcterms:W3CDTF">2023-03-02T14:07:47Z</dcterms:created>
  <dcterms:modified xsi:type="dcterms:W3CDTF">2025-01-29T09:3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